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92"/>
  </p:notesMasterIdLst>
  <p:handoutMasterIdLst>
    <p:handoutMasterId r:id="rId293"/>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10527" r:id="rId42"/>
    <p:sldId id="980" r:id="rId43"/>
    <p:sldId id="968" r:id="rId44"/>
    <p:sldId id="10531" r:id="rId45"/>
    <p:sldId id="10532" r:id="rId46"/>
    <p:sldId id="10528" r:id="rId47"/>
    <p:sldId id="10529" r:id="rId48"/>
    <p:sldId id="10530" r:id="rId49"/>
    <p:sldId id="10533" r:id="rId50"/>
    <p:sldId id="976" r:id="rId51"/>
    <p:sldId id="10472"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473" r:id="rId130"/>
    <p:sldId id="1081" r:id="rId131"/>
    <p:sldId id="1076" r:id="rId132"/>
    <p:sldId id="1077" r:id="rId133"/>
    <p:sldId id="1082" r:id="rId134"/>
    <p:sldId id="1083" r:id="rId135"/>
    <p:sldId id="1084" r:id="rId136"/>
    <p:sldId id="1085" r:id="rId137"/>
    <p:sldId id="1088" r:id="rId138"/>
    <p:sldId id="1089" r:id="rId139"/>
    <p:sldId id="10536" r:id="rId140"/>
    <p:sldId id="1090" r:id="rId141"/>
    <p:sldId id="1091" r:id="rId142"/>
    <p:sldId id="10537" r:id="rId143"/>
    <p:sldId id="1087" r:id="rId144"/>
    <p:sldId id="1086" r:id="rId145"/>
    <p:sldId id="1092" r:id="rId146"/>
    <p:sldId id="1098" r:id="rId147"/>
    <p:sldId id="1093" r:id="rId148"/>
    <p:sldId id="1094" r:id="rId149"/>
    <p:sldId id="1095" r:id="rId150"/>
    <p:sldId id="1096" r:id="rId151"/>
    <p:sldId id="1103" r:id="rId152"/>
    <p:sldId id="1118" r:id="rId153"/>
    <p:sldId id="1097" r:id="rId154"/>
    <p:sldId id="1099" r:id="rId155"/>
    <p:sldId id="1100" r:id="rId156"/>
    <p:sldId id="1104" r:id="rId157"/>
    <p:sldId id="1107" r:id="rId158"/>
    <p:sldId id="1106" r:id="rId159"/>
    <p:sldId id="1108" r:id="rId160"/>
    <p:sldId id="1109" r:id="rId161"/>
    <p:sldId id="1110" r:id="rId162"/>
    <p:sldId id="1111" r:id="rId163"/>
    <p:sldId id="10476" r:id="rId164"/>
    <p:sldId id="1101" r:id="rId165"/>
    <p:sldId id="1102" r:id="rId166"/>
    <p:sldId id="1119" r:id="rId167"/>
    <p:sldId id="665" r:id="rId168"/>
    <p:sldId id="1122" r:id="rId169"/>
    <p:sldId id="1120" r:id="rId170"/>
    <p:sldId id="1121" r:id="rId171"/>
    <p:sldId id="834" r:id="rId172"/>
    <p:sldId id="838" r:id="rId173"/>
    <p:sldId id="839" r:id="rId174"/>
    <p:sldId id="841" r:id="rId175"/>
    <p:sldId id="842" r:id="rId176"/>
    <p:sldId id="843" r:id="rId177"/>
    <p:sldId id="835" r:id="rId178"/>
    <p:sldId id="844" r:id="rId179"/>
    <p:sldId id="836" r:id="rId180"/>
    <p:sldId id="846" r:id="rId181"/>
    <p:sldId id="847" r:id="rId182"/>
    <p:sldId id="868" r:id="rId183"/>
    <p:sldId id="869" r:id="rId184"/>
    <p:sldId id="872" r:id="rId185"/>
    <p:sldId id="870" r:id="rId186"/>
    <p:sldId id="10475" r:id="rId187"/>
    <p:sldId id="1112" r:id="rId188"/>
    <p:sldId id="1114" r:id="rId189"/>
    <p:sldId id="1113" r:id="rId190"/>
    <p:sldId id="1125" r:id="rId191"/>
    <p:sldId id="1129" r:id="rId192"/>
    <p:sldId id="1126" r:id="rId193"/>
    <p:sldId id="1123" r:id="rId194"/>
    <p:sldId id="1124" r:id="rId195"/>
    <p:sldId id="1128" r:id="rId196"/>
    <p:sldId id="1131" r:id="rId197"/>
    <p:sldId id="1127" r:id="rId198"/>
    <p:sldId id="1130" r:id="rId199"/>
    <p:sldId id="1132" r:id="rId200"/>
    <p:sldId id="1133" r:id="rId201"/>
    <p:sldId id="1134" r:id="rId202"/>
    <p:sldId id="10490" r:id="rId203"/>
    <p:sldId id="1115" r:id="rId204"/>
    <p:sldId id="1116" r:id="rId205"/>
    <p:sldId id="1117" r:id="rId206"/>
    <p:sldId id="1105" r:id="rId207"/>
    <p:sldId id="1011" r:id="rId208"/>
    <p:sldId id="10403" r:id="rId209"/>
    <p:sldId id="10404" r:id="rId210"/>
    <p:sldId id="10405" r:id="rId211"/>
    <p:sldId id="10402" r:id="rId212"/>
    <p:sldId id="10407" r:id="rId213"/>
    <p:sldId id="10446" r:id="rId214"/>
    <p:sldId id="10440" r:id="rId215"/>
    <p:sldId id="10441" r:id="rId216"/>
    <p:sldId id="10451" r:id="rId217"/>
    <p:sldId id="10431" r:id="rId218"/>
    <p:sldId id="10452" r:id="rId219"/>
    <p:sldId id="10453" r:id="rId220"/>
    <p:sldId id="10454" r:id="rId221"/>
    <p:sldId id="10455" r:id="rId222"/>
    <p:sldId id="10448" r:id="rId223"/>
    <p:sldId id="10449" r:id="rId224"/>
    <p:sldId id="10450" r:id="rId225"/>
    <p:sldId id="10459" r:id="rId226"/>
    <p:sldId id="10447" r:id="rId227"/>
    <p:sldId id="10406" r:id="rId228"/>
    <p:sldId id="10425" r:id="rId229"/>
    <p:sldId id="10426" r:id="rId230"/>
    <p:sldId id="10409" r:id="rId231"/>
    <p:sldId id="10421" r:id="rId232"/>
    <p:sldId id="10417" r:id="rId233"/>
    <p:sldId id="10408" r:id="rId234"/>
    <p:sldId id="10427" r:id="rId235"/>
    <p:sldId id="10435" r:id="rId236"/>
    <p:sldId id="10437" r:id="rId237"/>
    <p:sldId id="10436" r:id="rId238"/>
    <p:sldId id="10438" r:id="rId239"/>
    <p:sldId id="10439" r:id="rId240"/>
    <p:sldId id="10442" r:id="rId241"/>
    <p:sldId id="10443" r:id="rId242"/>
    <p:sldId id="10444" r:id="rId243"/>
    <p:sldId id="10445" r:id="rId244"/>
    <p:sldId id="10428" r:id="rId245"/>
    <p:sldId id="10429" r:id="rId246"/>
    <p:sldId id="10430" r:id="rId247"/>
    <p:sldId id="10422" r:id="rId248"/>
    <p:sldId id="10423" r:id="rId249"/>
    <p:sldId id="10534" r:id="rId250"/>
    <p:sldId id="10535" r:id="rId251"/>
    <p:sldId id="10544"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39" r:id="rId264"/>
    <p:sldId id="10557" r:id="rId265"/>
    <p:sldId id="10558" r:id="rId266"/>
    <p:sldId id="10559" r:id="rId267"/>
    <p:sldId id="10556" r:id="rId268"/>
    <p:sldId id="10555" r:id="rId269"/>
    <p:sldId id="10541" r:id="rId270"/>
    <p:sldId id="10540" r:id="rId271"/>
    <p:sldId id="10542" r:id="rId272"/>
    <p:sldId id="10543" r:id="rId273"/>
    <p:sldId id="936" r:id="rId274"/>
    <p:sldId id="825" r:id="rId275"/>
    <p:sldId id="823" r:id="rId276"/>
    <p:sldId id="824" r:id="rId277"/>
    <p:sldId id="810" r:id="rId278"/>
    <p:sldId id="10560" r:id="rId279"/>
    <p:sldId id="512" r:id="rId280"/>
    <p:sldId id="345" r:id="rId281"/>
    <p:sldId id="10561" r:id="rId282"/>
    <p:sldId id="294" r:id="rId283"/>
    <p:sldId id="332" r:id="rId284"/>
    <p:sldId id="349" r:id="rId285"/>
    <p:sldId id="344" r:id="rId286"/>
    <p:sldId id="333" r:id="rId287"/>
    <p:sldId id="339" r:id="rId288"/>
    <p:sldId id="336" r:id="rId289"/>
    <p:sldId id="337" r:id="rId290"/>
    <p:sldId id="341" r:id="rId29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4"/>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39"/>
            <p14:sldId id="10557"/>
            <p14:sldId id="10558"/>
            <p14:sldId id="10559"/>
            <p14:sldId id="10556"/>
            <p14:sldId id="10555"/>
          </p14:sldIdLst>
        </p14:section>
        <p14:section name="DEMO 9" id="{A8F48E4E-B6BB-4AB0-8566-E543075632EB}">
          <p14:sldIdLst>
            <p14:sldId id="10541"/>
            <p14:sldId id="10540"/>
          </p14:sldIdLst>
        </p14:section>
        <p14:section name="DEMO 10" id="{C12E384D-747C-4067-BFD2-67D100546F4E}">
          <p14:sldIdLst>
            <p14:sldId id="10542"/>
            <p14:sldId id="10543"/>
          </p14:sldIdLst>
        </p14:section>
        <p14:section name="END" id="{D63A5623-874A-4021-8463-B45A95150954}">
          <p14:sldIdLst>
            <p14:sldId id="936"/>
            <p14:sldId id="825"/>
            <p14:sldId id="823"/>
            <p14:sldId id="824"/>
            <p14:sldId id="810"/>
            <p14:sldId id="10560"/>
            <p14:sldId id="512"/>
            <p14:sldId id="345"/>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p:scale>
          <a:sx n="100" d="100"/>
          <a:sy n="100" d="100"/>
        </p:scale>
        <p:origin x="720" y="73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slide" Target="slides/slide288.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notesMaster" Target="notesMasters/notesMaster1.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handoutMaster" Target="handoutMasters/handoutMaster1.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commentAuthors" Target="commentAuthor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presProps" Target="presProps.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viewProps" Target="viewProps.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theme" Target="theme/theme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tableStyles" Target="tableStyle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0/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73.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4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5: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071705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5: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65231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73</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5: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5: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5: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0/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9.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5.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7.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8.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3.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49.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7.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4.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18.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18.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41.xml"/><Relationship Id="rId1" Type="http://schemas.openxmlformats.org/officeDocument/2006/relationships/slideLayout" Target="../slideLayouts/slideLayout29.xml"/><Relationship Id="rId4" Type="http://schemas.openxmlformats.org/officeDocument/2006/relationships/image" Target="../media/image325.png"/></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3.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42.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74.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75.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43.xml"/><Relationship Id="rId1" Type="http://schemas.openxmlformats.org/officeDocument/2006/relationships/slideLayout" Target="../slideLayouts/slideLayout29.xml"/><Relationship Id="rId4" Type="http://schemas.openxmlformats.org/officeDocument/2006/relationships/image" Target="../media/image326.png"/></Relationships>
</file>

<file path=ppt/slides/_rels/slide27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44.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9.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27.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spTree>
    <p:extLst>
      <p:ext uri="{BB962C8B-B14F-4D97-AF65-F5344CB8AC3E}">
        <p14:creationId xmlns:p14="http://schemas.microsoft.com/office/powerpoint/2010/main" val="1638122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12121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68200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6687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09916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83150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33636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4049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20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239E81-68A7-4C7C-B8A6-FF00DE8B1C60}"/>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bright="-40000" contrast="-20000"/>
                    </a14:imgEffect>
                  </a14:imgLayer>
                </a14:imgProps>
              </a:ext>
            </a:extLst>
          </a:blip>
          <a:srcRect l="-624" r="25008"/>
          <a:stretch/>
        </p:blipFill>
        <p:spPr>
          <a:xfrm>
            <a:off x="4393245" y="0"/>
            <a:ext cx="4744704" cy="5143500"/>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5134"/>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096000" y="1775307"/>
            <a:ext cx="2947600" cy="182705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66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27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3" name="Text Placeholder 9">
            <a:extLst>
              <a:ext uri="{FF2B5EF4-FFF2-40B4-BE49-F238E27FC236}">
                <a16:creationId xmlns:a16="http://schemas.microsoft.com/office/drawing/2014/main" id="{3DB415B2-C9BC-4F7E-A529-2F07A23EC7F6}"/>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sz="3600" dirty="0">
                <a:solidFill>
                  <a:prstClr val="black"/>
                </a:solidFill>
                <a:latin typeface="Segoe UI Semibold" panose="020B0702040204020203" pitchFamily="34" charset="0"/>
                <a:cs typeface="Segoe UI Semibold" panose="020B0702040204020203" pitchFamily="34" charset="0"/>
              </a:rPr>
              <a:t>Hiram Fleitas</a:t>
            </a:r>
            <a:endParaRPr lang="en-US" sz="3600" dirty="0">
              <a:solidFill>
                <a:prstClr val="black"/>
              </a:solidFill>
              <a:latin typeface="Segoe UI Semibold" panose="020B0702040204020203" pitchFamily="34" charset="0"/>
              <a:cs typeface="Segoe UI Semibold" panose="020B0702040204020203" pitchFamily="34" charset="0"/>
            </a:endParaRPr>
          </a:p>
          <a:p>
            <a:pPr defTabSz="457189">
              <a:defRPr/>
            </a:pPr>
            <a:r>
              <a:rPr lang="en-US" sz="2200" dirty="0">
                <a:solidFill>
                  <a:srgbClr val="B8232F"/>
                </a:solidFill>
                <a:latin typeface="Segoe UI Semibold" panose="020B0702040204020203" pitchFamily="34" charset="0"/>
                <a:cs typeface="Segoe UI Semibold" panose="020B0702040204020203" pitchFamily="34" charset="0"/>
              </a:rPr>
              <a:t>universalproperty.com</a:t>
            </a: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753989"/>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75398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14724" y="3769678"/>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17868" y="3265881"/>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2294" y="277143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04743" y="3265882"/>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4391" y="2262714"/>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2295" y="276745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17868" y="3770049"/>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4390" y="2261047"/>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39108630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007</TotalTime>
  <Words>11629</Words>
  <Application>Microsoft Office PowerPoint</Application>
  <PresentationFormat>On-screen Show (16:9)</PresentationFormat>
  <Paragraphs>1386</Paragraphs>
  <Slides>288</Slides>
  <Notes>244</Notes>
  <HiddenSlides>11</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88</vt:i4>
      </vt:variant>
    </vt:vector>
  </HeadingPairs>
  <TitlesOfParts>
    <vt:vector size="304"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International Space Station (DEMO 10)</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294</cp:revision>
  <dcterms:created xsi:type="dcterms:W3CDTF">2013-07-12T18:23:55Z</dcterms:created>
  <dcterms:modified xsi:type="dcterms:W3CDTF">2019-10-30T21:41:54Z</dcterms:modified>
  <cp:category>Develop</cp:category>
  <cp:contentStatus/>
</cp:coreProperties>
</file>